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8" r:id="rId2"/>
  </p:sldIdLst>
  <p:sldSz cx="6858000" cy="12192000"/>
  <p:notesSz cx="9926638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60" d="100"/>
          <a:sy n="60" d="100"/>
        </p:scale>
        <p:origin x="1876" y="-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tmp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tm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995312"/>
            <a:ext cx="5829300" cy="4244622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6403623"/>
            <a:ext cx="5143500" cy="2943577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smtClean="0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140698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32947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649111"/>
            <a:ext cx="1478756" cy="10332156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649111"/>
            <a:ext cx="4350544" cy="10332156"/>
          </a:xfrm>
        </p:spPr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9907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side_6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descr="Underoverskrift"/>
          <p:cNvSpPr>
            <a:spLocks noGrp="1"/>
          </p:cNvSpPr>
          <p:nvPr>
            <p:ph type="subTitle" idx="1" hasCustomPrompt="1"/>
          </p:nvPr>
        </p:nvSpPr>
        <p:spPr>
          <a:xfrm>
            <a:off x="586426" y="9339860"/>
            <a:ext cx="5699393" cy="2140385"/>
          </a:xfrm>
        </p:spPr>
        <p:txBody>
          <a:bodyPr>
            <a:normAutofit/>
          </a:bodyPr>
          <a:lstStyle>
            <a:lvl1pPr marL="0" indent="0" algn="l">
              <a:buNone/>
              <a:defRPr sz="1416"/>
            </a:lvl1pPr>
            <a:lvl2pPr marL="342865" indent="0" algn="ctr">
              <a:buNone/>
              <a:defRPr sz="1500"/>
            </a:lvl2pPr>
            <a:lvl3pPr marL="685729" indent="0" algn="ctr">
              <a:buNone/>
              <a:defRPr sz="1350"/>
            </a:lvl3pPr>
            <a:lvl4pPr marL="1028594" indent="0" algn="ctr">
              <a:buNone/>
              <a:defRPr sz="1200"/>
            </a:lvl4pPr>
            <a:lvl5pPr marL="1371459" indent="0" algn="ctr">
              <a:buNone/>
              <a:defRPr sz="1200"/>
            </a:lvl5pPr>
            <a:lvl6pPr marL="1714324" indent="0" algn="ctr">
              <a:buNone/>
              <a:defRPr sz="1200"/>
            </a:lvl6pPr>
            <a:lvl7pPr marL="2057188" indent="0" algn="ctr">
              <a:buNone/>
              <a:defRPr sz="1200"/>
            </a:lvl7pPr>
            <a:lvl8pPr marL="2400053" indent="0" algn="ctr">
              <a:buNone/>
              <a:defRPr sz="1200"/>
            </a:lvl8pPr>
            <a:lvl9pPr marL="2742918" indent="0" algn="ctr">
              <a:buNone/>
              <a:defRPr sz="1200"/>
            </a:lvl9pPr>
          </a:lstStyle>
          <a:p>
            <a:r>
              <a:rPr lang="da-DK" dirty="0"/>
              <a:t>Underoverskrift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08D5A78-60E2-46B4-8632-3534A1859F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7" y="1955"/>
          <a:ext cx="1588" cy="19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08D5A78-60E2-46B4-8632-3534A1859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955"/>
                        <a:ext cx="1588" cy="19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0" descr="Overskrift">
            <a:extLst>
              <a:ext uri="{FF2B5EF4-FFF2-40B4-BE49-F238E27FC236}">
                <a16:creationId xmlns:a16="http://schemas.microsoft.com/office/drawing/2014/main" id="{3F350682-F136-4597-BCAD-6610EBC8B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6426" y="6820557"/>
            <a:ext cx="5710632" cy="2145525"/>
          </a:xfrm>
        </p:spPr>
        <p:txBody>
          <a:bodyPr vert="horz"/>
          <a:lstStyle>
            <a:lvl1pPr>
              <a:defRPr sz="4891"/>
            </a:lvl1pPr>
          </a:lstStyle>
          <a:p>
            <a:r>
              <a:rPr lang="da-DK" dirty="0"/>
              <a:t>Overskrift</a:t>
            </a:r>
          </a:p>
        </p:txBody>
      </p:sp>
      <p:pic>
        <p:nvPicPr>
          <p:cNvPr id="15" name="Billede 14" descr="Logo">
            <a:extLst>
              <a:ext uri="{FF2B5EF4-FFF2-40B4-BE49-F238E27FC236}">
                <a16:creationId xmlns:a16="http://schemas.microsoft.com/office/drawing/2014/main" id="{23D660A1-B522-4B18-AD9C-764F0C027B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8" y="734798"/>
            <a:ext cx="1574540" cy="714134"/>
          </a:xfrm>
          <a:prstGeom prst="rect">
            <a:avLst/>
          </a:prstGeom>
        </p:spPr>
      </p:pic>
      <p:sp>
        <p:nvSpPr>
          <p:cNvPr id="17" name="Pladsholder til billede 16">
            <a:extLst>
              <a:ext uri="{FF2B5EF4-FFF2-40B4-BE49-F238E27FC236}">
                <a16:creationId xmlns:a16="http://schemas.microsoft.com/office/drawing/2014/main" id="{367FEC29-CAB6-4944-87F9-467B638535C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76270" y="2148067"/>
            <a:ext cx="5993598" cy="394793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 dirty="0" smtClean="0"/>
              <a:t>Klik på ikonet for at tilføje et billede</a:t>
            </a:r>
            <a:endParaRPr lang="da-DK" dirty="0"/>
          </a:p>
        </p:txBody>
      </p:sp>
      <p:sp>
        <p:nvSpPr>
          <p:cNvPr id="12" name="Pladsholder til tekst 11" descr="#alle tiders roskilde">
            <a:extLst>
              <a:ext uri="{FF2B5EF4-FFF2-40B4-BE49-F238E27FC236}">
                <a16:creationId xmlns:a16="http://schemas.microsoft.com/office/drawing/2014/main" id="{3A37CF42-AFC4-404E-A71C-301883E04D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62355" y="957625"/>
            <a:ext cx="2319377" cy="268479"/>
          </a:xfrm>
        </p:spPr>
        <p:txBody>
          <a:bodyPr>
            <a:normAutofit/>
          </a:bodyPr>
          <a:lstStyle>
            <a:lvl1pPr marL="0" indent="0" algn="r">
              <a:buNone/>
              <a:defRPr sz="1094" cap="all" baseline="0">
                <a:latin typeface="+mj-lt"/>
              </a:defRPr>
            </a:lvl1pPr>
          </a:lstStyle>
          <a:p>
            <a:pPr lvl="0"/>
            <a:r>
              <a:rPr lang="da-DK" dirty="0"/>
              <a:t>Alle tiders </a:t>
            </a:r>
            <a:r>
              <a:rPr lang="da-DK" dirty="0" err="1"/>
              <a:t>roskilde</a:t>
            </a: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76115779-9266-44D9-B8FB-96689E07F9F7}"/>
              </a:ext>
            </a:extLst>
          </p:cNvPr>
          <p:cNvSpPr txBox="1"/>
          <p:nvPr userDrawn="1"/>
        </p:nvSpPr>
        <p:spPr>
          <a:xfrm>
            <a:off x="7087873" y="0"/>
            <a:ext cx="246446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2"/>
              </a:lnSpc>
            </a:pPr>
            <a:r>
              <a:rPr lang="da-DK" sz="1030" b="1" dirty="0">
                <a:latin typeface="Aleo" panose="00000500000000000000" pitchFamily="2" charset="0"/>
              </a:rPr>
              <a:t>Vælg forside: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På listen kan du skifte mellem forskellige forsider. </a:t>
            </a: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5557BC15-FB18-4AB3-A140-B26B0E1A614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081" y="335572"/>
            <a:ext cx="602515" cy="225484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11CA2947-EAD3-4352-A646-B845FEEF85B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873" y="1197223"/>
            <a:ext cx="2917124" cy="937710"/>
          </a:xfrm>
          <a:prstGeom prst="rect">
            <a:avLst/>
          </a:prstGeom>
        </p:spPr>
      </p:pic>
      <p:sp>
        <p:nvSpPr>
          <p:cNvPr id="13" name="Tekstfelt 12">
            <a:extLst>
              <a:ext uri="{FF2B5EF4-FFF2-40B4-BE49-F238E27FC236}">
                <a16:creationId xmlns:a16="http://schemas.microsoft.com/office/drawing/2014/main" id="{CCAF25F2-1FE3-414A-958F-B44D6A544096}"/>
              </a:ext>
            </a:extLst>
          </p:cNvPr>
          <p:cNvSpPr txBox="1"/>
          <p:nvPr userDrawn="1"/>
        </p:nvSpPr>
        <p:spPr>
          <a:xfrm>
            <a:off x="7087873" y="2457858"/>
            <a:ext cx="2917124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2"/>
              </a:lnSpc>
            </a:pPr>
            <a:r>
              <a:rPr lang="da-DK" sz="1030" b="1" dirty="0">
                <a:latin typeface="Aleo" panose="00000500000000000000" pitchFamily="2" charset="0"/>
              </a:rPr>
              <a:t>#ALLE TIDERS ROSKILDE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Du kan ændre tekst til præcis det du ønsker</a:t>
            </a:r>
          </a:p>
          <a:p>
            <a:pPr>
              <a:lnSpc>
                <a:spcPts val="1802"/>
              </a:lnSpc>
            </a:pPr>
            <a:r>
              <a:rPr lang="da-DK" sz="1030" u="sng" dirty="0">
                <a:latin typeface="Aleo" panose="00000500000000000000" pitchFamily="2" charset="0"/>
              </a:rPr>
              <a:t>HUSK</a:t>
            </a:r>
            <a:r>
              <a:rPr lang="da-DK" sz="1030" dirty="0">
                <a:latin typeface="Aleo" panose="00000500000000000000" pitchFamily="2" charset="0"/>
              </a:rPr>
              <a:t> at opdatere bagsiden med samme tekst. 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E277038F-5644-4BB4-A7FE-11745DEB3945}"/>
              </a:ext>
            </a:extLst>
          </p:cNvPr>
          <p:cNvSpPr txBox="1"/>
          <p:nvPr userDrawn="1"/>
        </p:nvSpPr>
        <p:spPr>
          <a:xfrm>
            <a:off x="7087872" y="3609312"/>
            <a:ext cx="2917124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802"/>
              </a:lnSpc>
            </a:pPr>
            <a:r>
              <a:rPr lang="da-DK" sz="1030" b="1" dirty="0">
                <a:latin typeface="Aleo" panose="00000500000000000000" pitchFamily="2" charset="0"/>
              </a:rPr>
              <a:t>Indsæt billede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Klik på ikonet og vælg det ønskede billede.</a:t>
            </a: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Efterfølgende klikker du på billedet med højre musetast, og vælger Beskær.</a:t>
            </a:r>
          </a:p>
          <a:p>
            <a:pPr>
              <a:lnSpc>
                <a:spcPts val="1802"/>
              </a:lnSpc>
            </a:pPr>
            <a:endParaRPr lang="da-DK" sz="1030" dirty="0">
              <a:latin typeface="Aleo" panose="00000500000000000000" pitchFamily="2" charset="0"/>
            </a:endParaRPr>
          </a:p>
          <a:p>
            <a:pPr>
              <a:lnSpc>
                <a:spcPts val="1802"/>
              </a:lnSpc>
            </a:pPr>
            <a:r>
              <a:rPr lang="da-DK" sz="1030" dirty="0">
                <a:latin typeface="Aleo" panose="00000500000000000000" pitchFamily="2" charset="0"/>
              </a:rPr>
              <a:t>Du kan nu tilpasse visningen.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ED5400C-E871-4F23-A43F-81A8B1375998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29451" y="4466756"/>
            <a:ext cx="431979" cy="64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5301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940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3039537"/>
            <a:ext cx="5915025" cy="5071532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8159048"/>
            <a:ext cx="5915025" cy="2666999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16457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3245556"/>
            <a:ext cx="2914650" cy="7735712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3245556"/>
            <a:ext cx="2914650" cy="7735712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9020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49114"/>
            <a:ext cx="5915025" cy="2356556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988734"/>
            <a:ext cx="2901255" cy="146473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4453467"/>
            <a:ext cx="2901255" cy="6550379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988734"/>
            <a:ext cx="2915543" cy="146473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4453467"/>
            <a:ext cx="2915543" cy="6550379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50002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261216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75343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812800"/>
            <a:ext cx="2211884" cy="28448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755425"/>
            <a:ext cx="3471863" cy="8664222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3657600"/>
            <a:ext cx="2211884" cy="677615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10900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812800"/>
            <a:ext cx="2211884" cy="28448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755425"/>
            <a:ext cx="3471863" cy="8664222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 smtClean="0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3657600"/>
            <a:ext cx="2211884" cy="6776156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2638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649114"/>
            <a:ext cx="5915025" cy="23565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3245556"/>
            <a:ext cx="5915025" cy="77357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11300181"/>
            <a:ext cx="154305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FA26-0291-4B88-A454-61449F9A3392}" type="datetimeFigureOut">
              <a:rPr lang="da-DK" smtClean="0"/>
              <a:t>21-03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11300181"/>
            <a:ext cx="2314575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11300181"/>
            <a:ext cx="154305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B1259E-B673-4DEE-A620-6F60ABFE296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3111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5340EE66-7CEA-402B-821C-2F754B9240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44" y="1232461"/>
          <a:ext cx="2044" cy="20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5340EE66-7CEA-402B-821C-2F754B9240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44" y="1232461"/>
                        <a:ext cx="2044" cy="204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Undertitel 5"/>
          <p:cNvSpPr>
            <a:spLocks noGrp="1"/>
          </p:cNvSpPr>
          <p:nvPr>
            <p:ph type="subTitle" idx="1"/>
          </p:nvPr>
        </p:nvSpPr>
        <p:spPr>
          <a:xfrm>
            <a:off x="571100" y="5387214"/>
            <a:ext cx="5710632" cy="2530749"/>
          </a:xfrm>
        </p:spPr>
        <p:txBody>
          <a:bodyPr>
            <a:normAutofit/>
          </a:bodyPr>
          <a:lstStyle/>
          <a:p>
            <a:endParaRPr lang="da-DK" dirty="0"/>
          </a:p>
          <a:p>
            <a:r>
              <a:rPr lang="da-DK" dirty="0"/>
              <a:t>Tværfløjtenist Christine Christiansen gæster Gundsø Omsorgscenter med et program bestående af forårets lyse hymner, hits af bl.a. The Beatles, </a:t>
            </a:r>
            <a:r>
              <a:rPr lang="da-DK" dirty="0" err="1"/>
              <a:t>Shubidua</a:t>
            </a:r>
            <a:r>
              <a:rPr lang="da-DK" dirty="0"/>
              <a:t> og Kim Larsen samt iørefaldende melodier fra musicals. </a:t>
            </a:r>
            <a:br>
              <a:rPr lang="da-DK" dirty="0"/>
            </a:br>
            <a:r>
              <a:rPr lang="da-DK" dirty="0"/>
              <a:t>En spraglet buket af muntre toner, som lytterne kender og kan synge eller nynne med på. </a:t>
            </a:r>
            <a:endParaRPr lang="da-DK" dirty="0" smtClean="0"/>
          </a:p>
          <a:p>
            <a:r>
              <a:rPr lang="da-DK" dirty="0" smtClean="0"/>
              <a:t>Mellem </a:t>
            </a:r>
            <a:r>
              <a:rPr lang="da-DK" dirty="0"/>
              <a:t>stykkerne siger Christine et par ord om musikken.</a:t>
            </a:r>
            <a:r>
              <a:rPr lang="da-DK" dirty="0"/>
              <a:t> </a:t>
            </a:r>
          </a:p>
          <a:p>
            <a:endParaRPr lang="da-DK" sz="1545" dirty="0">
              <a:latin typeface="Montserrat" panose="00000500000000000000" pitchFamily="2" charset="0"/>
            </a:endParaRPr>
          </a:p>
          <a:p>
            <a:endParaRPr lang="da-DK" dirty="0"/>
          </a:p>
          <a:p>
            <a:pPr>
              <a:lnSpc>
                <a:spcPct val="100000"/>
              </a:lnSpc>
            </a:pPr>
            <a:endParaRPr lang="da-DK" dirty="0">
              <a:latin typeface="Montserrat" panose="00000500000000000000" pitchFamily="2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04597" y="2238672"/>
            <a:ext cx="5710632" cy="726404"/>
          </a:xfrm>
        </p:spPr>
        <p:txBody>
          <a:bodyPr>
            <a:normAutofit/>
          </a:bodyPr>
          <a:lstStyle/>
          <a:p>
            <a:r>
              <a:rPr lang="da-DK" sz="4400" b="1" dirty="0">
                <a:solidFill>
                  <a:srgbClr val="7030A0"/>
                </a:solidFill>
              </a:rPr>
              <a:t>Lyt til fløjtetoner i farver</a:t>
            </a:r>
            <a:endParaRPr lang="da-DK" sz="4000" dirty="0">
              <a:solidFill>
                <a:srgbClr val="7030A0"/>
              </a:solidFill>
            </a:endParaRPr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4"/>
          </p:nvPr>
        </p:nvSpPr>
        <p:spPr>
          <a:xfrm>
            <a:off x="3814763" y="700089"/>
            <a:ext cx="2466969" cy="526016"/>
          </a:xfrm>
        </p:spPr>
        <p:txBody>
          <a:bodyPr/>
          <a:lstStyle/>
          <a:p>
            <a:r>
              <a:rPr lang="da-DK" dirty="0" smtClean="0"/>
              <a:t>Gundsø Omsorgscenter </a:t>
            </a:r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94B68FC-C0E1-4A50-929D-CB3AD751B79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6492213" y="10397577"/>
            <a:ext cx="365787" cy="273830"/>
          </a:xfrm>
        </p:spPr>
        <p:txBody>
          <a:bodyPr/>
          <a:lstStyle/>
          <a:p>
            <a:fld id="{64F67F80-C6C5-4152-AE4F-047697E5A1AA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18" name="Undertitel 5"/>
          <p:cNvSpPr txBox="1">
            <a:spLocks/>
          </p:cNvSpPr>
          <p:nvPr/>
        </p:nvSpPr>
        <p:spPr>
          <a:xfrm>
            <a:off x="700088" y="3309770"/>
            <a:ext cx="5299727" cy="1732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532729" rtl="0" eaLnBrk="1" latinLnBrk="0" hangingPunct="1">
              <a:lnSpc>
                <a:spcPct val="90000"/>
              </a:lnSpc>
              <a:spcBef>
                <a:spcPts val="583"/>
              </a:spcBef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365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1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272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10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909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65459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31824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818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64553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30918" indent="0" algn="ctr" defTabSz="532729" rtl="0" eaLnBrk="1" latinLnBrk="0" hangingPunct="1">
              <a:lnSpc>
                <a:spcPct val="90000"/>
              </a:lnSpc>
              <a:spcBef>
                <a:spcPts val="291"/>
              </a:spcBef>
              <a:buFont typeface="Arial" panose="020B0604020202020204" pitchFamily="34" charset="0"/>
              <a:buNone/>
              <a:defRPr sz="9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da-DK" sz="1416" dirty="0" smtClean="0"/>
              <a:t>Torsdag den 10 og 24.april</a:t>
            </a:r>
          </a:p>
          <a:p>
            <a:pPr>
              <a:lnSpc>
                <a:spcPct val="100000"/>
              </a:lnSpc>
            </a:pPr>
            <a:r>
              <a:rPr lang="da-DK" sz="1416" dirty="0" smtClean="0"/>
              <a:t>Tirsdag den 6,maj.</a:t>
            </a:r>
          </a:p>
          <a:p>
            <a:pPr>
              <a:lnSpc>
                <a:spcPct val="100000"/>
              </a:lnSpc>
            </a:pPr>
            <a:r>
              <a:rPr lang="da-DK" sz="1416" dirty="0" smtClean="0"/>
              <a:t>Onsdag den 28.maj</a:t>
            </a:r>
          </a:p>
          <a:p>
            <a:pPr>
              <a:lnSpc>
                <a:spcPct val="100000"/>
              </a:lnSpc>
            </a:pPr>
            <a:r>
              <a:rPr lang="da-DK" sz="1416" dirty="0" smtClean="0"/>
              <a:t>Tirsdag den 10.juni</a:t>
            </a:r>
            <a:r>
              <a:rPr lang="da-DK" sz="1416" dirty="0"/>
              <a:t/>
            </a:r>
            <a:br>
              <a:rPr lang="da-DK" sz="1416" dirty="0"/>
            </a:br>
            <a:r>
              <a:rPr lang="da-DK" sz="1600" b="1" dirty="0"/>
              <a:t>Kl. </a:t>
            </a:r>
            <a:r>
              <a:rPr lang="da-DK" sz="1600" b="1" dirty="0" smtClean="0"/>
              <a:t>10.45 </a:t>
            </a:r>
            <a:r>
              <a:rPr lang="da-DK" sz="1600" b="1" dirty="0"/>
              <a:t>– </a:t>
            </a:r>
            <a:r>
              <a:rPr lang="da-DK" sz="1600" b="1" dirty="0" smtClean="0"/>
              <a:t>11.30</a:t>
            </a:r>
            <a:r>
              <a:rPr lang="da-DK" sz="1416" dirty="0"/>
              <a:t/>
            </a:r>
            <a:br>
              <a:rPr lang="da-DK" sz="1416" dirty="0"/>
            </a:br>
            <a:r>
              <a:rPr lang="da-DK" sz="1416" dirty="0" smtClean="0"/>
              <a:t>Pårørende er velkommen  og  det foregår i cafeen/plejen</a:t>
            </a:r>
            <a:endParaRPr lang="da-DK" sz="1416" dirty="0"/>
          </a:p>
          <a:p>
            <a:pPr>
              <a:lnSpc>
                <a:spcPct val="100000"/>
              </a:lnSpc>
            </a:pPr>
            <a:endParaRPr lang="da-DK" sz="1416" dirty="0"/>
          </a:p>
        </p:txBody>
      </p:sp>
      <p:sp>
        <p:nvSpPr>
          <p:cNvPr id="3" name="Rektangel 2"/>
          <p:cNvSpPr/>
          <p:nvPr/>
        </p:nvSpPr>
        <p:spPr>
          <a:xfrm>
            <a:off x="520012" y="4984476"/>
            <a:ext cx="5479803" cy="8054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317" dirty="0"/>
              <a:t/>
            </a:r>
            <a:br>
              <a:rPr lang="da-DK" sz="2317" dirty="0"/>
            </a:br>
            <a:endParaRPr lang="da-DK" sz="2317" dirty="0"/>
          </a:p>
        </p:txBody>
      </p:sp>
      <p:pic>
        <p:nvPicPr>
          <p:cNvPr id="10" name="Billed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440" y="7809353"/>
            <a:ext cx="4905375" cy="5412580"/>
          </a:xfrm>
          <a:prstGeom prst="rect">
            <a:avLst/>
          </a:prstGeom>
        </p:spPr>
      </p:pic>
      <p:pic>
        <p:nvPicPr>
          <p:cNvPr id="2052" name="Picture 4" descr="Farverige musik noder - TenStickers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5340" y="2646849"/>
            <a:ext cx="3742660" cy="2002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1705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4</TotalTime>
  <Words>103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8" baseType="lpstr">
      <vt:lpstr>Aleo</vt:lpstr>
      <vt:lpstr>Arial</vt:lpstr>
      <vt:lpstr>Calibri</vt:lpstr>
      <vt:lpstr>Calibri Light</vt:lpstr>
      <vt:lpstr>Montserrat</vt:lpstr>
      <vt:lpstr>Office-tema</vt:lpstr>
      <vt:lpstr>think-cell Slide</vt:lpstr>
      <vt:lpstr>Lyt til fløjtetoner i farver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itra Shahidi</dc:creator>
  <cp:lastModifiedBy>Mitra Shahidi</cp:lastModifiedBy>
  <cp:revision>4</cp:revision>
  <cp:lastPrinted>2025-03-21T10:01:40Z</cp:lastPrinted>
  <dcterms:created xsi:type="dcterms:W3CDTF">2025-03-21T09:32:39Z</dcterms:created>
  <dcterms:modified xsi:type="dcterms:W3CDTF">2025-03-21T13:37:26Z</dcterms:modified>
</cp:coreProperties>
</file>